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4186" r:id="rId5"/>
  </p:sldMasterIdLst>
  <p:notesMasterIdLst>
    <p:notesMasterId r:id="rId7"/>
  </p:notesMasterIdLst>
  <p:handoutMasterIdLst>
    <p:handoutMasterId r:id="rId8"/>
  </p:handoutMasterIdLst>
  <p:sldIdLst>
    <p:sldId id="305" r:id="rId6"/>
  </p:sldIdLst>
  <p:sldSz cx="9906000" cy="6858000" type="A4"/>
  <p:notesSz cx="6797675" cy="987425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ED95D9CD-98D2-4436-BCF4-E7826E0B753F}">
          <p14:sldIdLst>
            <p14:sldId id="3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  <p15:guide id="5" orient="horz" pos="526">
          <p15:clr>
            <a:srgbClr val="A4A3A4"/>
          </p15:clr>
        </p15:guide>
        <p15:guide id="6" orient="horz" pos="4002">
          <p15:clr>
            <a:srgbClr val="A4A3A4"/>
          </p15:clr>
        </p15:guide>
        <p15:guide id="7" pos="3120">
          <p15:clr>
            <a:srgbClr val="A4A3A4"/>
          </p15:clr>
        </p15:guide>
        <p15:guide id="8" pos="162">
          <p15:clr>
            <a:srgbClr val="A4A3A4"/>
          </p15:clr>
        </p15:guide>
        <p15:guide id="9" pos="2121">
          <p15:clr>
            <a:srgbClr val="A4A3A4"/>
          </p15:clr>
        </p15:guide>
        <p15:guide id="10" pos="41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10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Свиридова Вера Юрьевна" initials="СВЮ" lastIdx="3" clrIdx="0"/>
  <p:cmAuthor id="1" name="Гиниятуллина Эльвира Насимовна" initials="ГЭН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95"/>
    <a:srgbClr val="0099FF"/>
    <a:srgbClr val="11C1FF"/>
    <a:srgbClr val="808080"/>
    <a:srgbClr val="F58A1F"/>
    <a:srgbClr val="F2F2F2"/>
    <a:srgbClr val="D0D0D0"/>
    <a:srgbClr val="E5F2F2"/>
    <a:srgbClr val="B2D2D8"/>
    <a:srgbClr val="C5C5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45" autoAdjust="0"/>
    <p:restoredTop sz="97336" autoAdjust="0"/>
  </p:normalViewPr>
  <p:slideViewPr>
    <p:cSldViewPr snapToGrid="0">
      <p:cViewPr varScale="1">
        <p:scale>
          <a:sx n="105" d="100"/>
          <a:sy n="105" d="100"/>
        </p:scale>
        <p:origin x="1788" y="114"/>
      </p:cViewPr>
      <p:guideLst>
        <p:guide orient="horz" pos="624"/>
        <p:guide orient="horz" pos="4182"/>
        <p:guide pos="180"/>
        <p:guide pos="6078"/>
        <p:guide orient="horz" pos="526"/>
        <p:guide orient="horz" pos="4002"/>
        <p:guide pos="3120"/>
        <p:guide pos="162"/>
        <p:guide pos="2121"/>
        <p:guide pos="4119"/>
      </p:guideLst>
    </p:cSldViewPr>
  </p:slideViewPr>
  <p:outlineViewPr>
    <p:cViewPr>
      <p:scale>
        <a:sx n="33" d="100"/>
        <a:sy n="33" d="100"/>
      </p:scale>
      <p:origin x="0" y="72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-3828" y="-78"/>
      </p:cViewPr>
      <p:guideLst>
        <p:guide orient="horz" pos="2880"/>
        <p:guide pos="2160"/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0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08B40-76F4-4574-A2E9-FC2E8E3C3F7F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8C9466-0FDB-4D5F-8F67-8230A54650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8384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903D09-D85A-4594-9EA3-CBA54C90E794}" type="datetimeFigureOut">
              <a:rPr lang="ru-RU" smtClean="0"/>
              <a:t>17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56DA7-AAD7-473E-A78B-09A07C1CFD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856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Фамилия Имя Отчество</a:t>
            </a:r>
          </a:p>
          <a:p>
            <a:r>
              <a:rPr lang="ru-RU" dirty="0"/>
              <a:t>Должность, подразделение/функция, </a:t>
            </a:r>
            <a:br>
              <a:rPr lang="ru-RU" dirty="0"/>
            </a:br>
            <a:r>
              <a:rPr lang="ru-RU" dirty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1 января 2018 г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38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3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17.06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Название презентации. Мероприятие</a:t>
            </a:r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188" r:id="rId2"/>
    <p:sldLayoutId id="2147484189" r:id="rId3"/>
    <p:sldLayoutId id="2147484190" r:id="rId4"/>
    <p:sldLayoutId id="2147484191" r:id="rId5"/>
    <p:sldLayoutId id="2147484192" r:id="rId6"/>
    <p:sldLayoutId id="2147484193" r:id="rId7"/>
    <p:sldLayoutId id="2147484194" r:id="rId8"/>
    <p:sldLayoutId id="2147484195" r:id="rId9"/>
    <p:sldLayoutId id="2147484196" r:id="rId10"/>
    <p:sldLayoutId id="2147484197" r:id="rId11"/>
    <p:sldLayoutId id="2147484198" r:id="rId12"/>
    <p:sldLayoutId id="2147484199" r:id="rId13"/>
    <p:sldLayoutId id="2147484200" r:id="rId1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69403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-NEW-А4-IN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110</_dlc_DocId>
    <_dlc_DocIdUrl xmlns="7bda88f5-81ee-4ce0-acd0-0fc58edecc95">
      <Url>https://sharepoint/portals/template/_layouts/15/DocIdRedir.aspx?ID=E76AX7DTSNFM-10-110</Url>
      <Description>E76AX7DTSNFM-10-110</Description>
    </_dlc_DocIdUrl>
    <_x041e__x043f__x0438__x0441__x0430__x043d__x0438__x0435_ xmlns="9b0c9865-9e5f-4a19-8def-db8deaed8a5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55DF84-B034-4E60-8A9F-FE26D4E6705C}">
  <ds:schemaRefs>
    <ds:schemaRef ds:uri="http://schemas.microsoft.com/office/2006/documentManagement/types"/>
    <ds:schemaRef ds:uri="http://purl.org/dc/elements/1.1/"/>
    <ds:schemaRef ds:uri="http://www.w3.org/XML/1998/namespace"/>
    <ds:schemaRef ds:uri="http://schemas.openxmlformats.org/package/2006/metadata/core-properties"/>
    <ds:schemaRef ds:uri="http://purl.org/dc/terms/"/>
    <ds:schemaRef ds:uri="http://purl.org/dc/dcmitype/"/>
    <ds:schemaRef ds:uri="9b0c9865-9e5f-4a19-8def-db8deaed8a57"/>
    <ds:schemaRef ds:uri="http://schemas.microsoft.com/office/infopath/2007/PartnerControls"/>
    <ds:schemaRef ds:uri="7bda88f5-81ee-4ce0-acd0-0fc58edecc95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014D1FA-B97E-4A88-B706-B252474A07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E59AD82-81F3-433F-B4DB-6D3E3D11D3DF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EAE0436-9E32-4CA6-9277-3249993CC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NEW-А4-IN</Template>
  <TotalTime>10467</TotalTime>
  <Words>0</Words>
  <Application>Microsoft Office PowerPoint</Application>
  <PresentationFormat>Лист A4 (210x297 мм)</PresentationFormat>
  <Paragraphs>0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SIBUR-NEW-А4-IN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Буркеев Аниc Замирович</cp:lastModifiedBy>
  <cp:revision>967</cp:revision>
  <cp:lastPrinted>2018-10-25T13:47:13Z</cp:lastPrinted>
  <dcterms:created xsi:type="dcterms:W3CDTF">2017-07-19T13:48:40Z</dcterms:created>
  <dcterms:modified xsi:type="dcterms:W3CDTF">2022-06-17T06:0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8ffd4ba9-ddc5-45d0-a5cc-f6dd8a48aa65</vt:lpwstr>
  </property>
</Properties>
</file>